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70" r:id="rId2"/>
    <p:sldId id="272" r:id="rId3"/>
    <p:sldId id="273" r:id="rId4"/>
    <p:sldId id="274" r:id="rId5"/>
    <p:sldId id="276" r:id="rId6"/>
    <p:sldId id="277" r:id="rId7"/>
    <p:sldId id="278" r:id="rId8"/>
    <p:sldId id="275" r:id="rId9"/>
    <p:sldId id="279" r:id="rId10"/>
    <p:sldId id="280" r:id="rId11"/>
    <p:sldId id="281" r:id="rId12"/>
    <p:sldId id="286" r:id="rId13"/>
    <p:sldId id="287" r:id="rId14"/>
    <p:sldId id="288" r:id="rId15"/>
    <p:sldId id="289" r:id="rId16"/>
    <p:sldId id="290" r:id="rId17"/>
    <p:sldId id="291" r:id="rId18"/>
    <p:sldId id="292" r:id="rId19"/>
    <p:sldId id="293" r:id="rId20"/>
    <p:sldId id="285" r:id="rId21"/>
    <p:sldId id="282" r:id="rId22"/>
    <p:sldId id="258" r:id="rId23"/>
  </p:sldIdLst>
  <p:sldSz cx="9144000" cy="6858000" type="screen4x3"/>
  <p:notesSz cx="6985000" cy="9283700"/>
  <p:custDataLst>
    <p:tags r:id="rId2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>
        <p:scale>
          <a:sx n="61" d="100"/>
          <a:sy n="61" d="100"/>
        </p:scale>
        <p:origin x="2102" y="66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6/20/20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20/06/2016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5285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501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5123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4247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89924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68039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95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2917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0641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19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2021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2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5664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580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9265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710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94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631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138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20/06/2016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Gray</a:t>
            </a:r>
            <a:r>
              <a:rPr lang="en-GB" dirty="0" smtClean="0"/>
              <a:t> scale linear ramp no clips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" y="805780"/>
            <a:ext cx="9174932" cy="516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08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linear ramp </a:t>
            </a:r>
            <a:r>
              <a:rPr lang="en-GB" dirty="0" smtClean="0"/>
              <a:t>clip 5%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16" y="836712"/>
            <a:ext cx="9089010" cy="5112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7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linear ramp </a:t>
            </a:r>
            <a:r>
              <a:rPr lang="en-GB" dirty="0" smtClean="0"/>
              <a:t>clips 5% 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147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</a:t>
            </a:r>
            <a:r>
              <a:rPr lang="en-GB" dirty="0" smtClean="0"/>
              <a:t>logarithmic ramp </a:t>
            </a:r>
            <a:r>
              <a:rPr lang="en-GB" dirty="0"/>
              <a:t>clips </a:t>
            </a:r>
            <a:r>
              <a:rPr lang="en-GB" dirty="0" smtClean="0"/>
              <a:t>0% </a:t>
            </a:r>
            <a:r>
              <a:rPr lang="en-GB" dirty="0"/>
              <a:t>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23401"/>
            <a:ext cx="9112674" cy="5125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</a:t>
            </a:r>
            <a:r>
              <a:rPr lang="en-GB" dirty="0" smtClean="0"/>
              <a:t>scale logarithmic ramp </a:t>
            </a:r>
            <a:r>
              <a:rPr lang="en-GB" dirty="0"/>
              <a:t>clips 5</a:t>
            </a:r>
            <a:r>
              <a:rPr lang="en-GB" dirty="0" smtClean="0"/>
              <a:t>% 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47" y="836712"/>
            <a:ext cx="9147548" cy="514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84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9400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130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0626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6316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0018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Logarithmic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87" y="1404606"/>
            <a:ext cx="7487816" cy="421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92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5102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417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139" y="1275454"/>
            <a:ext cx="8028384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54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252" y="836713"/>
            <a:ext cx="8960996" cy="5040560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137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SIRO Grey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248" y="908720"/>
            <a:ext cx="9089009" cy="5112568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0038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SonarBeamCorrection</a:t>
            </a:r>
            <a:r>
              <a:rPr lang="en-GB" dirty="0" smtClean="0"/>
              <a:t> </a:t>
            </a:r>
            <a:r>
              <a:rPr lang="en-GB" dirty="0" err="1" smtClean="0"/>
              <a:t>Gryscale</a:t>
            </a:r>
            <a:r>
              <a:rPr lang="en-GB" dirty="0" smtClean="0"/>
              <a:t> Logarithmic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64704"/>
            <a:ext cx="9813957" cy="492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76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8417" y="1379656"/>
            <a:ext cx="7402197" cy="37146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9872" y="1086830"/>
            <a:ext cx="7487816" cy="543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852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6472"/>
            <a:ext cx="9025464" cy="507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048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5/250 vs 0/255 grey 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61" y="836712"/>
            <a:ext cx="9144000" cy="4572000"/>
          </a:xfrm>
          <a:prstGeom prst="rect">
            <a:avLst/>
          </a:prstGeom>
        </p:spPr>
      </p:pic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56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64</TotalTime>
  <Words>89</Words>
  <Application>Microsoft Office PowerPoint</Application>
  <PresentationFormat>On-screen Show (4:3)</PresentationFormat>
  <Paragraphs>42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Blank</vt:lpstr>
      <vt:lpstr>think-cell Slide</vt:lpstr>
      <vt:lpstr>PowerPoint Presentation</vt:lpstr>
      <vt:lpstr>Yellow-Brown Logarithmic scale</vt:lpstr>
      <vt:lpstr>Yellow-Brown scale</vt:lpstr>
      <vt:lpstr>Discover Greyscale</vt:lpstr>
      <vt:lpstr>CSIRO Greyscale</vt:lpstr>
      <vt:lpstr>SonarBeamCorrection Gryscale Logarithmic</vt:lpstr>
      <vt:lpstr>scale</vt:lpstr>
      <vt:lpstr>Discover Greyscale</vt:lpstr>
      <vt:lpstr>5/250 vs 0/255 grey scale</vt:lpstr>
      <vt:lpstr>Gray scale linear ramp no clips</vt:lpstr>
      <vt:lpstr>Gray scale linear ramp clip 5%</vt:lpstr>
      <vt:lpstr>Gray scale linear ramp clips 5% + Inverted</vt:lpstr>
      <vt:lpstr>Gray scale logarithmic ramp clips 0% + Inverted</vt:lpstr>
      <vt:lpstr>Gray scale logarithmic ramp clips 5% + Inverted</vt:lpstr>
      <vt:lpstr>scale</vt:lpstr>
      <vt:lpstr>scale</vt:lpstr>
      <vt:lpstr>scale</vt:lpstr>
      <vt:lpstr>scale</vt:lpstr>
      <vt:lpstr>scale</vt:lpstr>
      <vt:lpstr>scale</vt:lpstr>
      <vt:lpstr>scale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15</cp:revision>
  <cp:lastPrinted>2014-07-03T06:58:13Z</cp:lastPrinted>
  <dcterms:created xsi:type="dcterms:W3CDTF">2016-06-19T03:12:04Z</dcterms:created>
  <dcterms:modified xsi:type="dcterms:W3CDTF">2016-06-21T12:58:27Z</dcterms:modified>
</cp:coreProperties>
</file>